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ags/tag4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69" r:id="rId3"/>
    <p:sldId id="258" r:id="rId4"/>
    <p:sldId id="270" r:id="rId5"/>
    <p:sldId id="274" r:id="rId6"/>
    <p:sldId id="275" r:id="rId7"/>
    <p:sldId id="277" r:id="rId8"/>
    <p:sldId id="278" r:id="rId9"/>
    <p:sldId id="279" r:id="rId10"/>
    <p:sldId id="280" r:id="rId11"/>
    <p:sldId id="281" r:id="rId12"/>
    <p:sldId id="282" r:id="rId13"/>
    <p:sldId id="283" r:id="rId14"/>
    <p:sldId id="284" r:id="rId15"/>
    <p:sldId id="285" r:id="rId16"/>
    <p:sldId id="286" r:id="rId17"/>
    <p:sldId id="287" r:id="rId18"/>
    <p:sldId id="288" r:id="rId19"/>
    <p:sldId id="289" r:id="rId20"/>
    <p:sldId id="290" r:id="rId21"/>
    <p:sldId id="291" r:id="rId22"/>
    <p:sldId id="292" r:id="rId23"/>
    <p:sldId id="293" r:id="rId24"/>
    <p:sldId id="261" r:id="rId25"/>
  </p:sldIdLst>
  <p:sldSz cx="12192000" cy="6858000"/>
  <p:notesSz cx="6858000" cy="9144000"/>
  <p:custDataLst>
    <p:tags r:id="rId2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66B8"/>
    <a:srgbClr val="BFE2FE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73566" autoAdjust="0"/>
  </p:normalViewPr>
  <p:slideViewPr>
    <p:cSldViewPr snapToGrid="0">
      <p:cViewPr varScale="1">
        <p:scale>
          <a:sx n="86" d="100"/>
          <a:sy n="86" d="100"/>
        </p:scale>
        <p:origin x="562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16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32679DD8-519D-4940-B1B3-218B819A78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30C6FBA9-2DDE-4258-BCCE-EEFAF4E30F4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2AF4A-DBCC-4D8D-85A9-BBFAD612AAA0}" type="datetimeFigureOut">
              <a:rPr lang="zh-CN" altLang="en-US" smtClean="0"/>
              <a:t>2018/6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AB79C960-AE67-46E1-B2EE-6CA95DE947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2878CFD-3CA7-4EF4-A91F-B3DF740B955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5720AC-5D60-4C51-90E6-CF0BC873E24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29540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8/6/3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36243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08" name="组合 9807">
            <a:extLst>
              <a:ext uri="{FF2B5EF4-FFF2-40B4-BE49-F238E27FC236}">
                <a16:creationId xmlns:a16="http://schemas.microsoft.com/office/drawing/2014/main" id="{2D7CBB34-2B94-4769-B18F-EC68E5DDAAEC}"/>
              </a:ext>
            </a:extLst>
          </p:cNvPr>
          <p:cNvGrpSpPr/>
          <p:nvPr userDrawn="1"/>
        </p:nvGrpSpPr>
        <p:grpSpPr>
          <a:xfrm>
            <a:off x="4243388" y="5443143"/>
            <a:ext cx="7175500" cy="774341"/>
            <a:chOff x="247650" y="4883150"/>
            <a:chExt cx="12195176" cy="1316038"/>
          </a:xfrm>
        </p:grpSpPr>
        <p:sp>
          <p:nvSpPr>
            <p:cNvPr id="9793" name="Freeform 60336">
              <a:extLst>
                <a:ext uri="{FF2B5EF4-FFF2-40B4-BE49-F238E27FC236}">
                  <a16:creationId xmlns:a16="http://schemas.microsoft.com/office/drawing/2014/main" id="{C8F4E702-10AA-431C-9D89-E750FE0BAA9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083675" y="4883150"/>
              <a:ext cx="2597150" cy="296863"/>
            </a:xfrm>
            <a:custGeom>
              <a:avLst/>
              <a:gdLst>
                <a:gd name="T0" fmla="*/ 0 w 1636"/>
                <a:gd name="T1" fmla="*/ 187 h 187"/>
                <a:gd name="T2" fmla="*/ 1636 w 1636"/>
                <a:gd name="T3" fmla="*/ 0 h 187"/>
                <a:gd name="T4" fmla="*/ 0 w 1636"/>
                <a:gd name="T5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36" h="187">
                  <a:moveTo>
                    <a:pt x="0" y="187"/>
                  </a:moveTo>
                  <a:lnTo>
                    <a:pt x="1636" y="0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rgbClr val="28282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4" name="Line 60337">
              <a:extLst>
                <a:ext uri="{FF2B5EF4-FFF2-40B4-BE49-F238E27FC236}">
                  <a16:creationId xmlns:a16="http://schemas.microsoft.com/office/drawing/2014/main" id="{871FE056-550E-4859-A849-A65F4F9BF6E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9083675" y="4883150"/>
              <a:ext cx="2597150" cy="296863"/>
            </a:xfrm>
            <a:prstGeom prst="line">
              <a:avLst/>
            </a:prstGeom>
            <a:noFill/>
            <a:ln w="3175" cap="flat">
              <a:solidFill>
                <a:srgbClr val="6B6B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6" name="Line 60339">
              <a:extLst>
                <a:ext uri="{FF2B5EF4-FFF2-40B4-BE49-F238E27FC236}">
                  <a16:creationId xmlns:a16="http://schemas.microsoft.com/office/drawing/2014/main" id="{4B98B6A4-4823-4155-BF29-529979E2DA97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4375150" y="5356225"/>
              <a:ext cx="2887663" cy="333375"/>
            </a:xfrm>
            <a:prstGeom prst="line">
              <a:avLst/>
            </a:prstGeom>
            <a:noFill/>
            <a:ln w="3175" cap="flat">
              <a:solidFill>
                <a:srgbClr val="6B6B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798" name="Line 60341">
              <a:extLst>
                <a:ext uri="{FF2B5EF4-FFF2-40B4-BE49-F238E27FC236}">
                  <a16:creationId xmlns:a16="http://schemas.microsoft.com/office/drawing/2014/main" id="{B6087D46-8DF6-4C1E-BC12-D44370373631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247650" y="5854700"/>
              <a:ext cx="2887663" cy="333375"/>
            </a:xfrm>
            <a:prstGeom prst="line">
              <a:avLst/>
            </a:prstGeom>
            <a:noFill/>
            <a:ln w="3175" cap="flat">
              <a:solidFill>
                <a:srgbClr val="6B6B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0" name="Line 60343">
              <a:extLst>
                <a:ext uri="{FF2B5EF4-FFF2-40B4-BE49-F238E27FC236}">
                  <a16:creationId xmlns:a16="http://schemas.microsoft.com/office/drawing/2014/main" id="{0D5FE492-B4C7-4CAF-B26A-A5F5BFC53970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2735263" y="5418138"/>
              <a:ext cx="7431088" cy="781050"/>
            </a:xfrm>
            <a:prstGeom prst="line">
              <a:avLst/>
            </a:prstGeom>
            <a:noFill/>
            <a:ln w="3175" cap="flat">
              <a:solidFill>
                <a:srgbClr val="6B6B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804" name="Line 60345">
              <a:extLst>
                <a:ext uri="{FF2B5EF4-FFF2-40B4-BE49-F238E27FC236}">
                  <a16:creationId xmlns:a16="http://schemas.microsoft.com/office/drawing/2014/main" id="{5220D65D-4858-43EF-8894-97A6360DAB5B}"/>
                </a:ext>
              </a:extLst>
            </p:cNvPr>
            <p:cNvSpPr>
              <a:spLocks noChangeShapeType="1"/>
            </p:cNvSpPr>
            <p:nvPr userDrawn="1"/>
          </p:nvSpPr>
          <p:spPr bwMode="auto">
            <a:xfrm flipV="1">
              <a:off x="6710363" y="5619750"/>
              <a:ext cx="5732463" cy="534988"/>
            </a:xfrm>
            <a:prstGeom prst="line">
              <a:avLst/>
            </a:prstGeom>
            <a:noFill/>
            <a:ln w="3175" cap="flat">
              <a:solidFill>
                <a:srgbClr val="6B6B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1011720" y="2905091"/>
            <a:ext cx="5137950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1011720" y="1278289"/>
            <a:ext cx="5147553" cy="1601436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011721" y="4737931"/>
            <a:ext cx="514755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1011721" y="5065086"/>
            <a:ext cx="514755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14" name="图片 13">
            <a:extLst>
              <a:ext uri="{FF2B5EF4-FFF2-40B4-BE49-F238E27FC236}">
                <a16:creationId xmlns:a16="http://schemas.microsoft.com/office/drawing/2014/main" id="{5799CBA5-A625-4057-87D3-11D93BC302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5780" y="738211"/>
            <a:ext cx="5941889" cy="53815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5722836" y="2981324"/>
            <a:ext cx="579653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5723952" y="3876674"/>
            <a:ext cx="579653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627BCEA-88F1-47DF-9B46-C357F11229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670" y="934255"/>
            <a:ext cx="5508977" cy="4989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6/3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18/6/30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60336">
            <a:extLst>
              <a:ext uri="{FF2B5EF4-FFF2-40B4-BE49-F238E27FC236}">
                <a16:creationId xmlns:a16="http://schemas.microsoft.com/office/drawing/2014/main" id="{705A30CA-71C9-4AFD-A180-B4E063032B1E}"/>
              </a:ext>
            </a:extLst>
          </p:cNvPr>
          <p:cNvSpPr>
            <a:spLocks/>
          </p:cNvSpPr>
          <p:nvPr userDrawn="1"/>
        </p:nvSpPr>
        <p:spPr bwMode="auto">
          <a:xfrm flipH="1">
            <a:off x="6049091" y="5569274"/>
            <a:ext cx="1522080" cy="173979"/>
          </a:xfrm>
          <a:custGeom>
            <a:avLst/>
            <a:gdLst>
              <a:gd name="T0" fmla="*/ 0 w 1636"/>
              <a:gd name="T1" fmla="*/ 187 h 187"/>
              <a:gd name="T2" fmla="*/ 1636 w 1636"/>
              <a:gd name="T3" fmla="*/ 0 h 187"/>
              <a:gd name="T4" fmla="*/ 0 w 1636"/>
              <a:gd name="T5" fmla="*/ 187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636" h="187">
                <a:moveTo>
                  <a:pt x="0" y="187"/>
                </a:moveTo>
                <a:lnTo>
                  <a:pt x="1636" y="0"/>
                </a:lnTo>
                <a:lnTo>
                  <a:pt x="0" y="187"/>
                </a:lnTo>
                <a:close/>
              </a:path>
            </a:pathLst>
          </a:custGeom>
          <a:solidFill>
            <a:srgbClr val="28282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0" name="Line 60337">
            <a:extLst>
              <a:ext uri="{FF2B5EF4-FFF2-40B4-BE49-F238E27FC236}">
                <a16:creationId xmlns:a16="http://schemas.microsoft.com/office/drawing/2014/main" id="{6C3D4191-6846-488A-BE66-9E36D5E1DB67}"/>
              </a:ext>
            </a:extLst>
          </p:cNvPr>
          <p:cNvSpPr>
            <a:spLocks noChangeShapeType="1"/>
          </p:cNvSpPr>
          <p:nvPr userDrawn="1"/>
        </p:nvSpPr>
        <p:spPr bwMode="auto">
          <a:xfrm flipH="1" flipV="1">
            <a:off x="6049091" y="5569274"/>
            <a:ext cx="1522080" cy="173979"/>
          </a:xfrm>
          <a:prstGeom prst="line">
            <a:avLst/>
          </a:prstGeom>
          <a:noFill/>
          <a:ln w="3175" cap="flat">
            <a:solidFill>
              <a:srgbClr val="6B6B6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" name="Line 60339">
            <a:extLst>
              <a:ext uri="{FF2B5EF4-FFF2-40B4-BE49-F238E27FC236}">
                <a16:creationId xmlns:a16="http://schemas.microsoft.com/office/drawing/2014/main" id="{0C1214ED-D291-4BB1-AEA0-4552B73E4404}"/>
              </a:ext>
            </a:extLst>
          </p:cNvPr>
          <p:cNvSpPr>
            <a:spLocks noChangeShapeType="1"/>
          </p:cNvSpPr>
          <p:nvPr userDrawn="1"/>
        </p:nvSpPr>
        <p:spPr bwMode="auto">
          <a:xfrm flipH="1" flipV="1">
            <a:off x="8638301" y="5846523"/>
            <a:ext cx="1692337" cy="195377"/>
          </a:xfrm>
          <a:prstGeom prst="line">
            <a:avLst/>
          </a:prstGeom>
          <a:noFill/>
          <a:ln w="3175" cap="flat">
            <a:solidFill>
              <a:srgbClr val="6B6B6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2" name="Line 60341">
            <a:extLst>
              <a:ext uri="{FF2B5EF4-FFF2-40B4-BE49-F238E27FC236}">
                <a16:creationId xmlns:a16="http://schemas.microsoft.com/office/drawing/2014/main" id="{4686D67C-0BD8-48CC-981C-97A6C0129393}"/>
              </a:ext>
            </a:extLst>
          </p:cNvPr>
          <p:cNvSpPr>
            <a:spLocks noChangeShapeType="1"/>
          </p:cNvSpPr>
          <p:nvPr userDrawn="1"/>
        </p:nvSpPr>
        <p:spPr bwMode="auto">
          <a:xfrm flipH="1" flipV="1">
            <a:off x="11057254" y="6138658"/>
            <a:ext cx="1134745" cy="131004"/>
          </a:xfrm>
          <a:prstGeom prst="line">
            <a:avLst/>
          </a:prstGeom>
          <a:noFill/>
          <a:ln w="3175" cap="flat">
            <a:solidFill>
              <a:srgbClr val="6B6B6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Line 60343">
            <a:extLst>
              <a:ext uri="{FF2B5EF4-FFF2-40B4-BE49-F238E27FC236}">
                <a16:creationId xmlns:a16="http://schemas.microsoft.com/office/drawing/2014/main" id="{019E3B0F-69FA-49F9-9261-3B02D9524C7A}"/>
              </a:ext>
            </a:extLst>
          </p:cNvPr>
          <p:cNvSpPr>
            <a:spLocks noChangeShapeType="1"/>
          </p:cNvSpPr>
          <p:nvPr userDrawn="1"/>
        </p:nvSpPr>
        <p:spPr bwMode="auto">
          <a:xfrm flipH="1" flipV="1">
            <a:off x="6936660" y="5882808"/>
            <a:ext cx="4355047" cy="457740"/>
          </a:xfrm>
          <a:prstGeom prst="line">
            <a:avLst/>
          </a:prstGeom>
          <a:noFill/>
          <a:ln w="3175" cap="flat">
            <a:solidFill>
              <a:srgbClr val="6B6B6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Line 60345">
            <a:extLst>
              <a:ext uri="{FF2B5EF4-FFF2-40B4-BE49-F238E27FC236}">
                <a16:creationId xmlns:a16="http://schemas.microsoft.com/office/drawing/2014/main" id="{5236F558-9DFD-4C4C-AC19-CA785B5A08A1}"/>
              </a:ext>
            </a:extLst>
          </p:cNvPr>
          <p:cNvSpPr>
            <a:spLocks noChangeShapeType="1"/>
          </p:cNvSpPr>
          <p:nvPr userDrawn="1"/>
        </p:nvSpPr>
        <p:spPr bwMode="auto">
          <a:xfrm flipH="1" flipV="1">
            <a:off x="5602514" y="6000964"/>
            <a:ext cx="3359555" cy="313534"/>
          </a:xfrm>
          <a:prstGeom prst="line">
            <a:avLst/>
          </a:prstGeom>
          <a:noFill/>
          <a:ln w="3175" cap="flat">
            <a:solidFill>
              <a:srgbClr val="6B6B6B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4C1355AF-931C-43E5-A954-51C53BF183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885286" y="1130300"/>
            <a:ext cx="5723958" cy="5184198"/>
          </a:xfrm>
          <a:prstGeom prst="rect">
            <a:avLst/>
          </a:prstGeom>
        </p:spPr>
      </p:pic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1161597" y="2246501"/>
            <a:ext cx="5426076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161597" y="4552737"/>
            <a:ext cx="542607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61598" y="4256466"/>
            <a:ext cx="542607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18/6/30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9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99937" y="1225024"/>
            <a:ext cx="5147553" cy="1601436"/>
          </a:xfrm>
        </p:spPr>
        <p:txBody>
          <a:bodyPr/>
          <a:lstStyle/>
          <a:p>
            <a:r>
              <a:rPr lang="zh-CN" altLang="en-US" dirty="0"/>
              <a:t>快速建课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78553" y="4413428"/>
            <a:ext cx="1278721" cy="296271"/>
          </a:xfrm>
        </p:spPr>
        <p:txBody>
          <a:bodyPr/>
          <a:lstStyle/>
          <a:p>
            <a:r>
              <a:rPr lang="zh-CN" altLang="en-US" dirty="0"/>
              <a:t>网络中心</a:t>
            </a:r>
            <a:endParaRPr lang="en-US" altLang="zh-CN" dirty="0"/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3AC38953-9F29-4B6B-8FF9-DB2729803D3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3432" y="2735363"/>
            <a:ext cx="1874058" cy="256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分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D427FB4-6A5A-4996-A71E-BE1899C53E67}"/>
              </a:ext>
            </a:extLst>
          </p:cNvPr>
          <p:cNvSpPr txBox="1"/>
          <p:nvPr/>
        </p:nvSpPr>
        <p:spPr>
          <a:xfrm>
            <a:off x="1043609" y="1500809"/>
            <a:ext cx="2564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小组：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FD0B8E0F-C1D0-4BA9-AF5D-9A5390912C79}"/>
              </a:ext>
            </a:extLst>
          </p:cNvPr>
          <p:cNvSpPr txBox="1"/>
          <p:nvPr/>
        </p:nvSpPr>
        <p:spPr>
          <a:xfrm>
            <a:off x="2060714" y="2157584"/>
            <a:ext cx="2564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创建小组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F4F0C00-9508-4D2F-836A-7DD80BFC80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4096" y="1344160"/>
            <a:ext cx="5951447" cy="4002471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8" name="文本框 17">
            <a:extLst>
              <a:ext uri="{FF2B5EF4-FFF2-40B4-BE49-F238E27FC236}">
                <a16:creationId xmlns:a16="http://schemas.microsoft.com/office/drawing/2014/main" id="{060A05BB-EA38-49AA-B82B-858EA779BDAA}"/>
              </a:ext>
            </a:extLst>
          </p:cNvPr>
          <p:cNvSpPr txBox="1"/>
          <p:nvPr/>
        </p:nvSpPr>
        <p:spPr>
          <a:xfrm>
            <a:off x="4625009" y="5692533"/>
            <a:ext cx="61796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dirty="0"/>
              <a:t>教师手动创建小组，设置组名，以及相应的选课密码</a:t>
            </a:r>
          </a:p>
        </p:txBody>
      </p:sp>
    </p:spTree>
    <p:extLst>
      <p:ext uri="{BB962C8B-B14F-4D97-AF65-F5344CB8AC3E}">
        <p14:creationId xmlns:p14="http://schemas.microsoft.com/office/powerpoint/2010/main" val="33250395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分组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0FC0C81-F360-498E-B45E-9E5057656370}"/>
              </a:ext>
            </a:extLst>
          </p:cNvPr>
          <p:cNvSpPr txBox="1"/>
          <p:nvPr/>
        </p:nvSpPr>
        <p:spPr>
          <a:xfrm>
            <a:off x="669924" y="1303611"/>
            <a:ext cx="25642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自动创建小组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A7D78EC-1770-4F1E-8081-917041BFAA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8894" y="1071157"/>
            <a:ext cx="6241705" cy="5272496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7F60E09B-566E-46F2-89BB-8608B4D23FA2}"/>
              </a:ext>
            </a:extLst>
          </p:cNvPr>
          <p:cNvSpPr txBox="1"/>
          <p:nvPr/>
        </p:nvSpPr>
        <p:spPr>
          <a:xfrm>
            <a:off x="8854624" y="2611402"/>
            <a:ext cx="2909889" cy="1525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/>
              <a:t>教师设定好命名规则（例如：有机化学</a:t>
            </a:r>
            <a:r>
              <a:rPr lang="en-US" altLang="zh-CN" sz="1600" dirty="0"/>
              <a:t>@</a:t>
            </a:r>
            <a:r>
              <a:rPr lang="zh-CN" altLang="en-US" sz="1600" dirty="0"/>
              <a:t>组），然后选择指定小组数量，系统会自动平均分配学生到相应的小组。</a:t>
            </a:r>
          </a:p>
        </p:txBody>
      </p:sp>
    </p:spTree>
    <p:extLst>
      <p:ext uri="{BB962C8B-B14F-4D97-AF65-F5344CB8AC3E}">
        <p14:creationId xmlns:p14="http://schemas.microsoft.com/office/powerpoint/2010/main" val="11448918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添加课程助教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64515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添加课程助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83FE49C-798D-41FB-A703-776ED9207832}"/>
              </a:ext>
            </a:extLst>
          </p:cNvPr>
          <p:cNvSpPr txBox="1"/>
          <p:nvPr/>
        </p:nvSpPr>
        <p:spPr>
          <a:xfrm>
            <a:off x="1222513" y="1500809"/>
            <a:ext cx="1709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已选课程用户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AD4A9988-93D4-47C7-8659-2D29BED163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7942" y="2342250"/>
            <a:ext cx="9534525" cy="116205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545657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添加课程助教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83FE49C-798D-41FB-A703-776ED9207832}"/>
              </a:ext>
            </a:extLst>
          </p:cNvPr>
          <p:cNvSpPr txBox="1"/>
          <p:nvPr/>
        </p:nvSpPr>
        <p:spPr>
          <a:xfrm>
            <a:off x="1222513" y="1500809"/>
            <a:ext cx="1709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未选课程用户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17792918-DFA0-41CC-9DF7-19C5B7682C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3504" y="1870141"/>
            <a:ext cx="8376616" cy="4692388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1009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添加课程封面，开启课程进度跟踪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9623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添加课程封面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83FE49C-798D-41FB-A703-776ED9207832}"/>
              </a:ext>
            </a:extLst>
          </p:cNvPr>
          <p:cNvSpPr txBox="1"/>
          <p:nvPr/>
        </p:nvSpPr>
        <p:spPr>
          <a:xfrm>
            <a:off x="1222512" y="1500809"/>
            <a:ext cx="3607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课程封面主要指代表课程的图片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BA2592C-2911-489E-9FDE-38139669F70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0855" y="1282635"/>
            <a:ext cx="3028950" cy="370522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812368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进度跟踪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C83FE49C-798D-41FB-A703-776ED9207832}"/>
              </a:ext>
            </a:extLst>
          </p:cNvPr>
          <p:cNvSpPr txBox="1"/>
          <p:nvPr/>
        </p:nvSpPr>
        <p:spPr>
          <a:xfrm>
            <a:off x="1222512" y="1500809"/>
            <a:ext cx="36079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对课程进展程度的跟踪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00E76DD4-1D5C-41D7-98BB-01406958A5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4597" y="1983203"/>
            <a:ext cx="6674022" cy="436045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012890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成绩册设置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6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13300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成绩册设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990734B-57F6-42B7-8B66-7A4E33AF1617}"/>
              </a:ext>
            </a:extLst>
          </p:cNvPr>
          <p:cNvSpPr txBox="1"/>
          <p:nvPr/>
        </p:nvSpPr>
        <p:spPr>
          <a:xfrm>
            <a:off x="1232451" y="1390525"/>
            <a:ext cx="42638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添加成绩项</a:t>
            </a:r>
            <a:r>
              <a:rPr lang="zh-CN" altLang="en-US" dirty="0"/>
              <a:t>：测验、作业、讨论等形式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EF038F1C-B454-407E-A5E8-AAA90D1298BF}"/>
              </a:ext>
            </a:extLst>
          </p:cNvPr>
          <p:cNvSpPr txBox="1"/>
          <p:nvPr/>
        </p:nvSpPr>
        <p:spPr>
          <a:xfrm>
            <a:off x="1232451" y="1961459"/>
            <a:ext cx="71064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/>
              <a:t>添加类别</a:t>
            </a:r>
            <a:r>
              <a:rPr lang="zh-CN" altLang="en-US" dirty="0"/>
              <a:t>：平时分、课程总分等类别。类别当中是包含成绩项的</a:t>
            </a:r>
          </a:p>
        </p:txBody>
      </p:sp>
      <p:pic>
        <p:nvPicPr>
          <p:cNvPr id="11" name="图片 10">
            <a:extLst>
              <a:ext uri="{FF2B5EF4-FFF2-40B4-BE49-F238E27FC236}">
                <a16:creationId xmlns:a16="http://schemas.microsoft.com/office/drawing/2014/main" id="{1895E8B6-EF7B-4364-9ADC-DBC750E275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731" y="2429203"/>
            <a:ext cx="9657522" cy="381126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96633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课程申请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置课程选课方式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设置课程分组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添加课程助教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添加课程封面和开启课程进度跟踪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课程成绩册设置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添加课程系列活动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b="0" dirty="0">
                    <a:latin typeface="+mn-lt"/>
                    <a:ea typeface="+mn-ea"/>
                    <a:sym typeface="+mn-lt"/>
                  </a:rPr>
                  <a:t>添加课程动态、日历等</a:t>
                </a:r>
                <a:endParaRPr lang="en-US" altLang="zh-CN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tr-TR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CONTENTS</a:t>
                </a: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活动添加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7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8088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活动添加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819047FA-6DA3-4A19-A684-48DF47A237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78272" y="1028700"/>
            <a:ext cx="4433866" cy="5734121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文本框 4">
            <a:extLst>
              <a:ext uri="{FF2B5EF4-FFF2-40B4-BE49-F238E27FC236}">
                <a16:creationId xmlns:a16="http://schemas.microsoft.com/office/drawing/2014/main" id="{967B4262-8880-4239-BE13-403E78895B80}"/>
              </a:ext>
            </a:extLst>
          </p:cNvPr>
          <p:cNvSpPr txBox="1"/>
          <p:nvPr/>
        </p:nvSpPr>
        <p:spPr>
          <a:xfrm>
            <a:off x="1023730" y="2623930"/>
            <a:ext cx="2047461" cy="87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dirty="0"/>
              <a:t>根据课程需要添加不同的活动类型</a:t>
            </a:r>
          </a:p>
        </p:txBody>
      </p:sp>
    </p:spTree>
    <p:extLst>
      <p:ext uri="{BB962C8B-B14F-4D97-AF65-F5344CB8AC3E}">
        <p14:creationId xmlns:p14="http://schemas.microsoft.com/office/powerpoint/2010/main" val="40760244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动态、日历等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8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1502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实时监控模块的添加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36B74F16-C558-48AC-AAF1-8CE59953C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67700" y="1076739"/>
            <a:ext cx="3124200" cy="253365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D7525DA3-F6C4-4EDD-AF4E-51E9A5AFD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262" y="1183999"/>
            <a:ext cx="2990850" cy="104775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7" name="图片 6">
            <a:extLst>
              <a:ext uri="{FF2B5EF4-FFF2-40B4-BE49-F238E27FC236}">
                <a16:creationId xmlns:a16="http://schemas.microsoft.com/office/drawing/2014/main" id="{4D8A906C-839B-4561-9AF9-0890A8B36B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76850" y="1748045"/>
            <a:ext cx="1638300" cy="4724400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2875FDCF-8B39-4453-AD92-9550FF3E8B51}"/>
              </a:ext>
            </a:extLst>
          </p:cNvPr>
          <p:cNvSpPr txBox="1"/>
          <p:nvPr/>
        </p:nvSpPr>
        <p:spPr>
          <a:xfrm>
            <a:off x="1089163" y="1862417"/>
            <a:ext cx="2990850" cy="17049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zh-CN" altLang="en-US" dirty="0"/>
              <a:t>通过课程动态、课程日历、即将到来事件、最近新闻等模块的添加实现对课程的实时监控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1C86F1CD-C570-4F99-A5B3-5C1E2CF05B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88638" y="3658428"/>
            <a:ext cx="2682323" cy="309631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114850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sz="4000" dirty="0"/>
              <a:t>谢谢大家！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889567" y="3868010"/>
            <a:ext cx="1333027" cy="296271"/>
          </a:xfrm>
        </p:spPr>
        <p:txBody>
          <a:bodyPr/>
          <a:lstStyle/>
          <a:p>
            <a:r>
              <a:rPr lang="zh-CN" altLang="en-US" dirty="0"/>
              <a:t>网络中心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申请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申请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7C2BEB3E-C5DB-43DC-AD8A-AEEC1C3FF7E4}"/>
              </a:ext>
            </a:extLst>
          </p:cNvPr>
          <p:cNvSpPr txBox="1"/>
          <p:nvPr/>
        </p:nvSpPr>
        <p:spPr>
          <a:xfrm>
            <a:off x="4671390" y="1669775"/>
            <a:ext cx="1610140" cy="461665"/>
          </a:xfrm>
          <a:prstGeom prst="rect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课程申请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BA33B80D-8BE8-4F35-9947-033CD711EBCD}"/>
              </a:ext>
            </a:extLst>
          </p:cNvPr>
          <p:cNvSpPr txBox="1"/>
          <p:nvPr/>
        </p:nvSpPr>
        <p:spPr>
          <a:xfrm>
            <a:off x="4671390" y="3299793"/>
            <a:ext cx="1610140" cy="917079"/>
          </a:xfrm>
          <a:prstGeom prst="diamond">
            <a:avLst/>
          </a:prstGeom>
          <a:noFill/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zh-CN" altLang="en-US" sz="2400" dirty="0"/>
              <a:t>审批</a:t>
            </a:r>
          </a:p>
        </p:txBody>
      </p: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783897E3-F238-41E0-A6D4-A8C2B8D1557A}"/>
              </a:ext>
            </a:extLst>
          </p:cNvPr>
          <p:cNvCxnSpPr>
            <a:stCxn id="5" idx="2"/>
          </p:cNvCxnSpPr>
          <p:nvPr/>
        </p:nvCxnSpPr>
        <p:spPr>
          <a:xfrm>
            <a:off x="5476460" y="2131440"/>
            <a:ext cx="0" cy="1148473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C8F19C5E-806D-4D12-ACFB-AF870DF60FBE}"/>
              </a:ext>
            </a:extLst>
          </p:cNvPr>
          <p:cNvCxnSpPr>
            <a:stCxn id="6" idx="2"/>
          </p:cNvCxnSpPr>
          <p:nvPr/>
        </p:nvCxnSpPr>
        <p:spPr>
          <a:xfrm>
            <a:off x="5476460" y="4216872"/>
            <a:ext cx="0" cy="1070745"/>
          </a:xfrm>
          <a:prstGeom prst="straightConnector1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连接符: 肘形 11">
            <a:extLst>
              <a:ext uri="{FF2B5EF4-FFF2-40B4-BE49-F238E27FC236}">
                <a16:creationId xmlns:a16="http://schemas.microsoft.com/office/drawing/2014/main" id="{9ED4B10B-BBF6-42D5-BD0A-37BE333EA7E4}"/>
              </a:ext>
            </a:extLst>
          </p:cNvPr>
          <p:cNvCxnSpPr>
            <a:cxnSpLocks/>
            <a:stCxn id="6" idx="1"/>
            <a:endCxn id="5" idx="1"/>
          </p:cNvCxnSpPr>
          <p:nvPr/>
        </p:nvCxnSpPr>
        <p:spPr>
          <a:xfrm rot="10800000">
            <a:off x="4671390" y="1900609"/>
            <a:ext cx="12700" cy="1857725"/>
          </a:xfrm>
          <a:prstGeom prst="bentConnector3">
            <a:avLst>
              <a:gd name="adj1" fmla="val 5634787"/>
            </a:avLst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2E8FE98D-852E-4BC4-9087-D3E3BA708AA3}"/>
              </a:ext>
            </a:extLst>
          </p:cNvPr>
          <p:cNvSpPr txBox="1"/>
          <p:nvPr/>
        </p:nvSpPr>
        <p:spPr>
          <a:xfrm>
            <a:off x="4120322" y="2818248"/>
            <a:ext cx="5637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不通过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EE6BC96-99DF-48AF-80AD-3748A01A4CE7}"/>
              </a:ext>
            </a:extLst>
          </p:cNvPr>
          <p:cNvSpPr txBox="1"/>
          <p:nvPr/>
        </p:nvSpPr>
        <p:spPr>
          <a:xfrm>
            <a:off x="5515975" y="4429078"/>
            <a:ext cx="5637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通过</a:t>
            </a:r>
          </a:p>
        </p:txBody>
      </p:sp>
    </p:spTree>
    <p:extLst>
      <p:ext uri="{BB962C8B-B14F-4D97-AF65-F5344CB8AC3E}">
        <p14:creationId xmlns:p14="http://schemas.microsoft.com/office/powerpoint/2010/main" val="29511851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选课方式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9986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选课方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C2BA51F-842D-4311-8557-EBEA3DE2E1BD}"/>
              </a:ext>
            </a:extLst>
          </p:cNvPr>
          <p:cNvSpPr/>
          <p:nvPr/>
        </p:nvSpPr>
        <p:spPr>
          <a:xfrm>
            <a:off x="1321904" y="2216425"/>
            <a:ext cx="2355575" cy="1028699"/>
          </a:xfrm>
          <a:prstGeom prst="rect">
            <a:avLst/>
          </a:prstGeom>
          <a:solidFill>
            <a:srgbClr val="036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自助选课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EB1BB44-6627-4799-BECF-B5DCDC8605F8}"/>
              </a:ext>
            </a:extLst>
          </p:cNvPr>
          <p:cNvSpPr/>
          <p:nvPr/>
        </p:nvSpPr>
        <p:spPr>
          <a:xfrm>
            <a:off x="1321903" y="3504784"/>
            <a:ext cx="2355575" cy="1028699"/>
          </a:xfrm>
          <a:prstGeom prst="rect">
            <a:avLst/>
          </a:prstGeom>
          <a:solidFill>
            <a:srgbClr val="BF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人工选课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5834E06-292F-4089-804B-19AE69F15623}"/>
              </a:ext>
            </a:extLst>
          </p:cNvPr>
          <p:cNvSpPr/>
          <p:nvPr/>
        </p:nvSpPr>
        <p:spPr>
          <a:xfrm>
            <a:off x="1321903" y="4793144"/>
            <a:ext cx="2355575" cy="1028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访客访问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CF15EFD-EA23-4DE9-BCE0-30689A41F132}"/>
              </a:ext>
            </a:extLst>
          </p:cNvPr>
          <p:cNvSpPr txBox="1"/>
          <p:nvPr/>
        </p:nvSpPr>
        <p:spPr>
          <a:xfrm>
            <a:off x="4333460" y="1578528"/>
            <a:ext cx="6778487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dirty="0"/>
              <a:t>自助选课主要是指让学生自己通过查找课程，点击“将我加入”，自行加入本门课程，成为课程的用户。一般系统默认设置的角色为学生。</a:t>
            </a:r>
          </a:p>
        </p:txBody>
      </p:sp>
      <p:pic>
        <p:nvPicPr>
          <p:cNvPr id="20" name="图片 19">
            <a:extLst>
              <a:ext uri="{FF2B5EF4-FFF2-40B4-BE49-F238E27FC236}">
                <a16:creationId xmlns:a16="http://schemas.microsoft.com/office/drawing/2014/main" id="{19082142-941E-45E0-BF9A-5B562C0DA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8285" y="3128545"/>
            <a:ext cx="4486275" cy="178117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1" name="图片 20">
            <a:extLst>
              <a:ext uri="{FF2B5EF4-FFF2-40B4-BE49-F238E27FC236}">
                <a16:creationId xmlns:a16="http://schemas.microsoft.com/office/drawing/2014/main" id="{A8671FC1-FDC0-4465-8280-9B9C7E032A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3460" y="5276985"/>
            <a:ext cx="7353300" cy="1295400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3280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选课方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C2BA51F-842D-4311-8557-EBEA3DE2E1BD}"/>
              </a:ext>
            </a:extLst>
          </p:cNvPr>
          <p:cNvSpPr/>
          <p:nvPr/>
        </p:nvSpPr>
        <p:spPr>
          <a:xfrm>
            <a:off x="1321904" y="2216425"/>
            <a:ext cx="2355575" cy="1028699"/>
          </a:xfrm>
          <a:prstGeom prst="rect">
            <a:avLst/>
          </a:prstGeom>
          <a:solidFill>
            <a:srgbClr val="BFE2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自助选课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EB1BB44-6627-4799-BECF-B5DCDC8605F8}"/>
              </a:ext>
            </a:extLst>
          </p:cNvPr>
          <p:cNvSpPr/>
          <p:nvPr/>
        </p:nvSpPr>
        <p:spPr>
          <a:xfrm>
            <a:off x="1321903" y="3504784"/>
            <a:ext cx="2355575" cy="1028699"/>
          </a:xfrm>
          <a:prstGeom prst="rect">
            <a:avLst/>
          </a:prstGeom>
          <a:solidFill>
            <a:srgbClr val="0366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人工选课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5834E06-292F-4089-804B-19AE69F15623}"/>
              </a:ext>
            </a:extLst>
          </p:cNvPr>
          <p:cNvSpPr/>
          <p:nvPr/>
        </p:nvSpPr>
        <p:spPr>
          <a:xfrm>
            <a:off x="1321903" y="4793144"/>
            <a:ext cx="2355575" cy="1028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访客访问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CF15EFD-EA23-4DE9-BCE0-30689A41F132}"/>
              </a:ext>
            </a:extLst>
          </p:cNvPr>
          <p:cNvSpPr txBox="1"/>
          <p:nvPr/>
        </p:nvSpPr>
        <p:spPr>
          <a:xfrm>
            <a:off x="4333460" y="1578528"/>
            <a:ext cx="6778487" cy="12894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dirty="0"/>
              <a:t>人工选课是指教师手动添加本门课程的用户，这一般用于课程自助选课时间结束之后，还有个别同学还未加入课程，这时就会需要通过人工选课的操作手动添加课程用户。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E975E8D9-7154-4760-8BEB-811FA0B197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7147"/>
          <a:stretch/>
        </p:blipFill>
        <p:spPr>
          <a:xfrm>
            <a:off x="4601817" y="2933964"/>
            <a:ext cx="6664186" cy="3718359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17779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课程选课方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C2BA51F-842D-4311-8557-EBEA3DE2E1BD}"/>
              </a:ext>
            </a:extLst>
          </p:cNvPr>
          <p:cNvSpPr/>
          <p:nvPr/>
        </p:nvSpPr>
        <p:spPr>
          <a:xfrm>
            <a:off x="1321904" y="2216425"/>
            <a:ext cx="2355575" cy="1028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自助选课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2EB1BB44-6627-4799-BECF-B5DCDC8605F8}"/>
              </a:ext>
            </a:extLst>
          </p:cNvPr>
          <p:cNvSpPr/>
          <p:nvPr/>
        </p:nvSpPr>
        <p:spPr>
          <a:xfrm>
            <a:off x="1321903" y="3504784"/>
            <a:ext cx="2355575" cy="1028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人工选课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5834E06-292F-4089-804B-19AE69F15623}"/>
              </a:ext>
            </a:extLst>
          </p:cNvPr>
          <p:cNvSpPr/>
          <p:nvPr/>
        </p:nvSpPr>
        <p:spPr>
          <a:xfrm>
            <a:off x="1321903" y="4793144"/>
            <a:ext cx="2355575" cy="10286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400" dirty="0"/>
              <a:t>访客访问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CCF15EFD-EA23-4DE9-BCE0-30689A41F132}"/>
              </a:ext>
            </a:extLst>
          </p:cNvPr>
          <p:cNvSpPr txBox="1"/>
          <p:nvPr/>
        </p:nvSpPr>
        <p:spPr>
          <a:xfrm>
            <a:off x="4333460" y="1578528"/>
            <a:ext cx="6778487" cy="17030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dirty="0"/>
              <a:t>访客可访问是指没有平台账号的访客，如果想观看此课程，也必须得知道相应的密码。设定密码可以限定，只有知道密码的访客才能访问课程，访客每次访问此课程都会被要求输入密码。</a:t>
            </a:r>
          </a:p>
          <a:p>
            <a:pPr indent="457200">
              <a:lnSpc>
                <a:spcPct val="150000"/>
              </a:lnSpc>
            </a:pPr>
            <a:endParaRPr lang="zh-CN" altLang="en-US" dirty="0"/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92343A0F-D683-44B6-B5C9-D7FC6B64D2C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57297" y="3395245"/>
            <a:ext cx="5953125" cy="227647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72269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845499" y="3200400"/>
            <a:ext cx="5796536" cy="895350"/>
          </a:xfrm>
        </p:spPr>
        <p:txBody>
          <a:bodyPr/>
          <a:lstStyle/>
          <a:p>
            <a:r>
              <a:rPr lang="zh-CN" altLang="en-US" dirty="0"/>
              <a:t>课程分组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845499" y="2404875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793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4a9aa7fc-b43f-47f4-ba48-a5ad0f488a3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b751056-6b97-492c-b763-340acee7e99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366B8"/>
      </a:accent1>
      <a:accent2>
        <a:srgbClr val="272727"/>
      </a:accent2>
      <a:accent3>
        <a:srgbClr val="7A7676"/>
      </a:accent3>
      <a:accent4>
        <a:srgbClr val="525354"/>
      </a:accent4>
      <a:accent5>
        <a:srgbClr val="545252"/>
      </a:accent5>
      <a:accent6>
        <a:srgbClr val="57585B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366B8"/>
    </a:accent1>
    <a:accent2>
      <a:srgbClr val="272727"/>
    </a:accent2>
    <a:accent3>
      <a:srgbClr val="7A7676"/>
    </a:accent3>
    <a:accent4>
      <a:srgbClr val="525354"/>
    </a:accent4>
    <a:accent5>
      <a:srgbClr val="545252"/>
    </a:accent5>
    <a:accent6>
      <a:srgbClr val="57585B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49</TotalTime>
  <Words>425</Words>
  <Application>Microsoft Office PowerPoint</Application>
  <PresentationFormat>宽屏</PresentationFormat>
  <Paragraphs>83</Paragraphs>
  <Slides>2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2" baseType="lpstr">
      <vt:lpstr>等线</vt:lpstr>
      <vt:lpstr>宋体</vt:lpstr>
      <vt:lpstr>Arial</vt:lpstr>
      <vt:lpstr>Calibri</vt:lpstr>
      <vt:lpstr>Impact</vt:lpstr>
      <vt:lpstr>微软雅黑</vt:lpstr>
      <vt:lpstr>主题5</vt:lpstr>
      <vt:lpstr>think-cell Slide</vt:lpstr>
      <vt:lpstr>快速建课</vt:lpstr>
      <vt:lpstr>PowerPoint 演示文稿</vt:lpstr>
      <vt:lpstr>课程申请</vt:lpstr>
      <vt:lpstr>课程申请</vt:lpstr>
      <vt:lpstr>课程选课方式</vt:lpstr>
      <vt:lpstr>课程选课方式</vt:lpstr>
      <vt:lpstr>课程选课方式</vt:lpstr>
      <vt:lpstr>课程选课方式</vt:lpstr>
      <vt:lpstr>课程分组</vt:lpstr>
      <vt:lpstr>课程分组</vt:lpstr>
      <vt:lpstr>课程分组</vt:lpstr>
      <vt:lpstr>添加课程助教</vt:lpstr>
      <vt:lpstr>添加课程助教</vt:lpstr>
      <vt:lpstr>添加课程助教</vt:lpstr>
      <vt:lpstr>添加课程封面，开启课程进度跟踪</vt:lpstr>
      <vt:lpstr>添加课程封面</vt:lpstr>
      <vt:lpstr>课程进度跟踪</vt:lpstr>
      <vt:lpstr>课程成绩册设置</vt:lpstr>
      <vt:lpstr>课程成绩册设置</vt:lpstr>
      <vt:lpstr>课程活动添加</vt:lpstr>
      <vt:lpstr>课程活动添加</vt:lpstr>
      <vt:lpstr>课程动态、日历等</vt:lpstr>
      <vt:lpstr>课程实时监控模块的添加</vt:lpstr>
      <vt:lpstr>谢谢大家！ 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郭 华平</cp:lastModifiedBy>
  <cp:revision>24</cp:revision>
  <cp:lastPrinted>2018-06-14T16:00:00Z</cp:lastPrinted>
  <dcterms:created xsi:type="dcterms:W3CDTF">2018-06-14T16:00:00Z</dcterms:created>
  <dcterms:modified xsi:type="dcterms:W3CDTF">2018-06-30T09:5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